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8"/>
  </p:notesMasterIdLst>
  <p:handoutMasterIdLst>
    <p:handoutMasterId r:id="rId39"/>
  </p:handoutMasterIdLst>
  <p:sldIdLst>
    <p:sldId id="256" r:id="rId5"/>
    <p:sldId id="2147375589" r:id="rId6"/>
    <p:sldId id="4848" r:id="rId7"/>
    <p:sldId id="2147375597" r:id="rId8"/>
    <p:sldId id="2147375615" r:id="rId9"/>
    <p:sldId id="2147375616" r:id="rId10"/>
    <p:sldId id="2147375617" r:id="rId11"/>
    <p:sldId id="2147375600" r:id="rId12"/>
    <p:sldId id="2147375601" r:id="rId13"/>
    <p:sldId id="2147375618" r:id="rId14"/>
    <p:sldId id="2147375619" r:id="rId15"/>
    <p:sldId id="2147375620" r:id="rId16"/>
    <p:sldId id="2147375621" r:id="rId17"/>
    <p:sldId id="2147375624" r:id="rId18"/>
    <p:sldId id="2147375625" r:id="rId19"/>
    <p:sldId id="2147375602" r:id="rId20"/>
    <p:sldId id="2147375603" r:id="rId21"/>
    <p:sldId id="2147375604" r:id="rId22"/>
    <p:sldId id="2147375605" r:id="rId23"/>
    <p:sldId id="2147375622" r:id="rId24"/>
    <p:sldId id="2147375626" r:id="rId25"/>
    <p:sldId id="2147375606" r:id="rId26"/>
    <p:sldId id="2147375607" r:id="rId27"/>
    <p:sldId id="2147375608" r:id="rId28"/>
    <p:sldId id="2147375609" r:id="rId29"/>
    <p:sldId id="2147375623" r:id="rId30"/>
    <p:sldId id="2147375627" r:id="rId31"/>
    <p:sldId id="2147375610" r:id="rId32"/>
    <p:sldId id="2147375611" r:id="rId33"/>
    <p:sldId id="2147375612" r:id="rId34"/>
    <p:sldId id="2147375613" r:id="rId35"/>
    <p:sldId id="2147375614" r:id="rId36"/>
    <p:sldId id="1633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A5FDC0-493C-4355-8537-E672EBA672B5}" v="19" dt="2024-08-31T04:07:09.8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447" autoAdjust="0"/>
  </p:normalViewPr>
  <p:slideViewPr>
    <p:cSldViewPr snapToGrid="0">
      <p:cViewPr varScale="1">
        <p:scale>
          <a:sx n="59" d="100"/>
          <a:sy n="59" d="100"/>
        </p:scale>
        <p:origin x="96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in, Atishay D SBOBNG-PTIV/ZSO" userId="a81ed98b-90ff-49a1-98c1-044ad1fc7cf0" providerId="ADAL" clId="{3FA5FDC0-493C-4355-8537-E672EBA672B5}"/>
    <pc:docChg chg="undo custSel addSld modSld">
      <pc:chgData name="Jain, Atishay D SBOBNG-PTIV/ZSO" userId="a81ed98b-90ff-49a1-98c1-044ad1fc7cf0" providerId="ADAL" clId="{3FA5FDC0-493C-4355-8537-E672EBA672B5}" dt="2024-08-31T04:12:12.971" v="1579" actId="20577"/>
      <pc:docMkLst>
        <pc:docMk/>
      </pc:docMkLst>
      <pc:sldChg chg="addSp delSp modSp mod">
        <pc:chgData name="Jain, Atishay D SBOBNG-PTIV/ZSO" userId="a81ed98b-90ff-49a1-98c1-044ad1fc7cf0" providerId="ADAL" clId="{3FA5FDC0-493C-4355-8537-E672EBA672B5}" dt="2024-08-31T03:51:44.925" v="617" actId="478"/>
        <pc:sldMkLst>
          <pc:docMk/>
          <pc:sldMk cId="245881457" sldId="2147375597"/>
        </pc:sldMkLst>
        <pc:spChg chg="add del mod">
          <ac:chgData name="Jain, Atishay D SBOBNG-PTIV/ZSO" userId="a81ed98b-90ff-49a1-98c1-044ad1fc7cf0" providerId="ADAL" clId="{3FA5FDC0-493C-4355-8537-E672EBA672B5}" dt="2024-08-31T03:51:44.925" v="617" actId="478"/>
          <ac:spMkLst>
            <pc:docMk/>
            <pc:sldMk cId="245881457" sldId="2147375597"/>
            <ac:spMk id="6" creationId="{D6367036-3467-15F2-7CBC-C4C9E2E3E5F6}"/>
          </ac:spMkLst>
        </pc:spChg>
        <pc:spChg chg="mod">
          <ac:chgData name="Jain, Atishay D SBOBNG-PTIV/ZSO" userId="a81ed98b-90ff-49a1-98c1-044ad1fc7cf0" providerId="ADAL" clId="{3FA5FDC0-493C-4355-8537-E672EBA672B5}" dt="2024-08-31T03:48:28.634" v="566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49:17.531" v="575" actId="1076"/>
          <ac:picMkLst>
            <pc:docMk/>
            <pc:sldMk cId="245881457" sldId="2147375597"/>
            <ac:picMk id="5" creationId="{5109F427-D094-3C82-B726-FB2BD25D61CF}"/>
          </ac:picMkLst>
        </pc:picChg>
      </pc:sldChg>
      <pc:sldChg chg="modSp mod">
        <pc:chgData name="Jain, Atishay D SBOBNG-PTIV/ZSO" userId="a81ed98b-90ff-49a1-98c1-044ad1fc7cf0" providerId="ADAL" clId="{3FA5FDC0-493C-4355-8537-E672EBA672B5}" dt="2024-08-31T04:01:49.088" v="690" actId="313"/>
        <pc:sldMkLst>
          <pc:docMk/>
          <pc:sldMk cId="3233747587" sldId="2147375601"/>
        </pc:sldMkLst>
        <pc:spChg chg="mod">
          <ac:chgData name="Jain, Atishay D SBOBNG-PTIV/ZSO" userId="a81ed98b-90ff-49a1-98c1-044ad1fc7cf0" providerId="ADAL" clId="{3FA5FDC0-493C-4355-8537-E672EBA672B5}" dt="2024-08-31T04:01:49.088" v="690" actId="313"/>
          <ac:spMkLst>
            <pc:docMk/>
            <pc:sldMk cId="3233747587" sldId="2147375601"/>
            <ac:spMk id="11" creationId="{DE9F1BE0-7910-FA1B-DCE8-56EFD1E4FC09}"/>
          </ac:spMkLst>
        </pc:spChg>
      </pc:sldChg>
      <pc:sldChg chg="addSp delSp modSp mod">
        <pc:chgData name="Jain, Atishay D SBOBNG-PTIV/ZSO" userId="a81ed98b-90ff-49a1-98c1-044ad1fc7cf0" providerId="ADAL" clId="{3FA5FDC0-493C-4355-8537-E672EBA672B5}" dt="2024-08-31T03:54:41.169" v="648" actId="1076"/>
        <pc:sldMkLst>
          <pc:docMk/>
          <pc:sldMk cId="3971512377" sldId="2147375603"/>
        </pc:sldMkLst>
        <pc:spChg chg="add mod">
          <ac:chgData name="Jain, Atishay D SBOBNG-PTIV/ZSO" userId="a81ed98b-90ff-49a1-98c1-044ad1fc7cf0" providerId="ADAL" clId="{3FA5FDC0-493C-4355-8537-E672EBA672B5}" dt="2024-08-31T03:54:28.013" v="641" actId="931"/>
          <ac:spMkLst>
            <pc:docMk/>
            <pc:sldMk cId="3971512377" sldId="2147375603"/>
            <ac:spMk id="8" creationId="{C8825E09-F20E-B215-3501-101034B951CB}"/>
          </ac:spMkLst>
        </pc:spChg>
        <pc:spChg chg="del mod">
          <ac:chgData name="Jain, Atishay D SBOBNG-PTIV/ZSO" userId="a81ed98b-90ff-49a1-98c1-044ad1fc7cf0" providerId="ADAL" clId="{3FA5FDC0-493C-4355-8537-E672EBA672B5}" dt="2024-08-31T03:54:32.631" v="643" actId="478"/>
          <ac:spMkLst>
            <pc:docMk/>
            <pc:sldMk cId="3971512377" sldId="2147375603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4:41.169" v="648" actId="1076"/>
          <ac:picMkLst>
            <pc:docMk/>
            <pc:sldMk cId="3971512377" sldId="2147375603"/>
            <ac:picMk id="6" creationId="{70C2F097-F2DA-B97D-86A2-13B4CCF6FDBF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4:57.001" v="650"/>
        <pc:sldMkLst>
          <pc:docMk/>
          <pc:sldMk cId="3179805674" sldId="2147375604"/>
        </pc:sldMkLst>
        <pc:spChg chg="add mod">
          <ac:chgData name="Jain, Atishay D SBOBNG-PTIV/ZSO" userId="a81ed98b-90ff-49a1-98c1-044ad1fc7cf0" providerId="ADAL" clId="{3FA5FDC0-493C-4355-8537-E672EBA672B5}" dt="2024-08-31T03:54:57.001" v="650"/>
          <ac:spMkLst>
            <pc:docMk/>
            <pc:sldMk cId="3179805674" sldId="2147375604"/>
            <ac:spMk id="6" creationId="{EC08F35F-8797-0F12-91D3-D6A6F96CF656}"/>
          </ac:spMkLst>
        </pc:spChg>
        <pc:spChg chg="del">
          <ac:chgData name="Jain, Atishay D SBOBNG-PTIV/ZSO" userId="a81ed98b-90ff-49a1-98c1-044ad1fc7cf0" providerId="ADAL" clId="{3FA5FDC0-493C-4355-8537-E672EBA672B5}" dt="2024-08-31T03:54:48.433" v="649" actId="478"/>
          <ac:spMkLst>
            <pc:docMk/>
            <pc:sldMk cId="3179805674" sldId="2147375604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4:57.001" v="650"/>
          <ac:picMkLst>
            <pc:docMk/>
            <pc:sldMk cId="3179805674" sldId="2147375604"/>
            <ac:picMk id="2" creationId="{7E44F683-01B1-85F8-982D-712A661BF9B3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5:05.670" v="652"/>
        <pc:sldMkLst>
          <pc:docMk/>
          <pc:sldMk cId="86366928" sldId="2147375605"/>
        </pc:sldMkLst>
        <pc:spChg chg="add mod">
          <ac:chgData name="Jain, Atishay D SBOBNG-PTIV/ZSO" userId="a81ed98b-90ff-49a1-98c1-044ad1fc7cf0" providerId="ADAL" clId="{3FA5FDC0-493C-4355-8537-E672EBA672B5}" dt="2024-08-31T03:55:05.670" v="652"/>
          <ac:spMkLst>
            <pc:docMk/>
            <pc:sldMk cId="86366928" sldId="2147375605"/>
            <ac:spMk id="6" creationId="{4C73FC79-B9F6-42ED-BCF9-4AB11E562E65}"/>
          </ac:spMkLst>
        </pc:spChg>
        <pc:spChg chg="del">
          <ac:chgData name="Jain, Atishay D SBOBNG-PTIV/ZSO" userId="a81ed98b-90ff-49a1-98c1-044ad1fc7cf0" providerId="ADAL" clId="{3FA5FDC0-493C-4355-8537-E672EBA672B5}" dt="2024-08-31T03:55:03.280" v="651" actId="478"/>
          <ac:spMkLst>
            <pc:docMk/>
            <pc:sldMk cId="86366928" sldId="2147375605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5:05.670" v="652"/>
          <ac:picMkLst>
            <pc:docMk/>
            <pc:sldMk cId="86366928" sldId="2147375605"/>
            <ac:picMk id="2" creationId="{75E27F53-42E6-A2D2-6662-24741B2B84EC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4:00:37.965" v="680" actId="478"/>
        <pc:sldMkLst>
          <pc:docMk/>
          <pc:sldMk cId="2340944189" sldId="2147375607"/>
        </pc:sldMkLst>
        <pc:spChg chg="add del mod">
          <ac:chgData name="Jain, Atishay D SBOBNG-PTIV/ZSO" userId="a81ed98b-90ff-49a1-98c1-044ad1fc7cf0" providerId="ADAL" clId="{3FA5FDC0-493C-4355-8537-E672EBA672B5}" dt="2024-08-31T03:59:48.987" v="665" actId="478"/>
          <ac:spMkLst>
            <pc:docMk/>
            <pc:sldMk cId="2340944189" sldId="2147375607"/>
            <ac:spMk id="8" creationId="{F8C3FA14-F757-C564-7EB5-383D5732023D}"/>
          </ac:spMkLst>
        </pc:spChg>
        <pc:spChg chg="mod">
          <ac:chgData name="Jain, Atishay D SBOBNG-PTIV/ZSO" userId="a81ed98b-90ff-49a1-98c1-044ad1fc7cf0" providerId="ADAL" clId="{3FA5FDC0-493C-4355-8537-E672EBA672B5}" dt="2024-08-31T03:41:21.359" v="138" actId="113"/>
          <ac:spMkLst>
            <pc:docMk/>
            <pc:sldMk cId="2340944189" sldId="2147375607"/>
            <ac:spMk id="11" creationId="{DE9F1BE0-7910-FA1B-DCE8-56EFD1E4FC09}"/>
          </ac:spMkLst>
        </pc:spChg>
        <pc:spChg chg="del">
          <ac:chgData name="Jain, Atishay D SBOBNG-PTIV/ZSO" userId="a81ed98b-90ff-49a1-98c1-044ad1fc7cf0" providerId="ADAL" clId="{3FA5FDC0-493C-4355-8537-E672EBA672B5}" dt="2024-08-31T03:58:34.656" v="660" actId="478"/>
          <ac:spMkLst>
            <pc:docMk/>
            <pc:sldMk cId="2340944189" sldId="2147375607"/>
            <ac:spMk id="12" creationId="{E53E5C3F-4D2B-B85F-E592-E58E032C664C}"/>
          </ac:spMkLst>
        </pc:spChg>
        <pc:spChg chg="add del mod">
          <ac:chgData name="Jain, Atishay D SBOBNG-PTIV/ZSO" userId="a81ed98b-90ff-49a1-98c1-044ad1fc7cf0" providerId="ADAL" clId="{3FA5FDC0-493C-4355-8537-E672EBA672B5}" dt="2024-08-31T03:59:48.987" v="665" actId="478"/>
          <ac:spMkLst>
            <pc:docMk/>
            <pc:sldMk cId="2340944189" sldId="2147375607"/>
            <ac:spMk id="14" creationId="{BB0B7367-EC05-46E2-586B-1B46AD9575E7}"/>
          </ac:spMkLst>
        </pc:spChg>
        <pc:spChg chg="add del mod">
          <ac:chgData name="Jain, Atishay D SBOBNG-PTIV/ZSO" userId="a81ed98b-90ff-49a1-98c1-044ad1fc7cf0" providerId="ADAL" clId="{3FA5FDC0-493C-4355-8537-E672EBA672B5}" dt="2024-08-31T04:00:37.965" v="680" actId="478"/>
          <ac:spMkLst>
            <pc:docMk/>
            <pc:sldMk cId="2340944189" sldId="2147375607"/>
            <ac:spMk id="17" creationId="{D79A319F-671A-8E23-4B58-36B411CAD5EA}"/>
          </ac:spMkLst>
        </pc:spChg>
        <pc:picChg chg="add del mod">
          <ac:chgData name="Jain, Atishay D SBOBNG-PTIV/ZSO" userId="a81ed98b-90ff-49a1-98c1-044ad1fc7cf0" providerId="ADAL" clId="{3FA5FDC0-493C-4355-8537-E672EBA672B5}" dt="2024-08-31T03:59:48.987" v="665" actId="478"/>
          <ac:picMkLst>
            <pc:docMk/>
            <pc:sldMk cId="2340944189" sldId="2147375607"/>
            <ac:picMk id="6" creationId="{53EFA4D6-5114-ED04-A666-4E143767E12D}"/>
          </ac:picMkLst>
        </pc:picChg>
        <pc:picChg chg="add del mod">
          <ac:chgData name="Jain, Atishay D SBOBNG-PTIV/ZSO" userId="a81ed98b-90ff-49a1-98c1-044ad1fc7cf0" providerId="ADAL" clId="{3FA5FDC0-493C-4355-8537-E672EBA672B5}" dt="2024-08-31T03:59:48.987" v="665" actId="478"/>
          <ac:picMkLst>
            <pc:docMk/>
            <pc:sldMk cId="2340944189" sldId="2147375607"/>
            <ac:picMk id="13" creationId="{AB56A339-00EE-3791-77EA-5919A097CD7D}"/>
          </ac:picMkLst>
        </pc:picChg>
        <pc:picChg chg="add mod">
          <ac:chgData name="Jain, Atishay D SBOBNG-PTIV/ZSO" userId="a81ed98b-90ff-49a1-98c1-044ad1fc7cf0" providerId="ADAL" clId="{3FA5FDC0-493C-4355-8537-E672EBA672B5}" dt="2024-08-31T04:00:33.576" v="672" actId="1076"/>
          <ac:picMkLst>
            <pc:docMk/>
            <pc:sldMk cId="2340944189" sldId="2147375607"/>
            <ac:picMk id="16" creationId="{0CDD5824-DE18-33A2-E0D7-27230C98A904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4:00:48.523" v="683"/>
        <pc:sldMkLst>
          <pc:docMk/>
          <pc:sldMk cId="3159148252" sldId="2147375608"/>
        </pc:sldMkLst>
        <pc:spChg chg="mod">
          <ac:chgData name="Jain, Atishay D SBOBNG-PTIV/ZSO" userId="a81ed98b-90ff-49a1-98c1-044ad1fc7cf0" providerId="ADAL" clId="{3FA5FDC0-493C-4355-8537-E672EBA672B5}" dt="2024-08-31T03:42:22.212" v="257" actId="20577"/>
          <ac:spMkLst>
            <pc:docMk/>
            <pc:sldMk cId="3159148252" sldId="2147375608"/>
            <ac:spMk id="11" creationId="{DE9F1BE0-7910-FA1B-DCE8-56EFD1E4FC09}"/>
          </ac:spMkLst>
        </pc:spChg>
        <pc:spChg chg="del mod">
          <ac:chgData name="Jain, Atishay D SBOBNG-PTIV/ZSO" userId="a81ed98b-90ff-49a1-98c1-044ad1fc7cf0" providerId="ADAL" clId="{3FA5FDC0-493C-4355-8537-E672EBA672B5}" dt="2024-08-31T04:00:47.601" v="682" actId="478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4:00:48.523" v="683"/>
          <ac:picMkLst>
            <pc:docMk/>
            <pc:sldMk cId="3159148252" sldId="2147375608"/>
            <ac:picMk id="5" creationId="{050D4528-8760-E745-48E0-74F9C37754F5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4:00:54.330" v="685"/>
        <pc:sldMkLst>
          <pc:docMk/>
          <pc:sldMk cId="3070204084" sldId="2147375609"/>
        </pc:sldMkLst>
        <pc:spChg chg="add del mod">
          <ac:chgData name="Jain, Atishay D SBOBNG-PTIV/ZSO" userId="a81ed98b-90ff-49a1-98c1-044ad1fc7cf0" providerId="ADAL" clId="{3FA5FDC0-493C-4355-8537-E672EBA672B5}" dt="2024-08-31T03:43:52.463" v="424" actId="20577"/>
          <ac:spMkLst>
            <pc:docMk/>
            <pc:sldMk cId="3070204084" sldId="2147375609"/>
            <ac:spMk id="11" creationId="{DE9F1BE0-7910-FA1B-DCE8-56EFD1E4FC09}"/>
          </ac:spMkLst>
        </pc:spChg>
        <pc:spChg chg="del">
          <ac:chgData name="Jain, Atishay D SBOBNG-PTIV/ZSO" userId="a81ed98b-90ff-49a1-98c1-044ad1fc7cf0" providerId="ADAL" clId="{3FA5FDC0-493C-4355-8537-E672EBA672B5}" dt="2024-08-31T04:00:53.470" v="684" actId="478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4:00:54.330" v="685"/>
          <ac:picMkLst>
            <pc:docMk/>
            <pc:sldMk cId="3070204084" sldId="2147375609"/>
            <ac:picMk id="5" creationId="{C2B0B841-2EBF-61D2-898C-EE93E8141D8E}"/>
          </ac:picMkLst>
        </pc:picChg>
      </pc:sldChg>
      <pc:sldChg chg="modSp mod">
        <pc:chgData name="Jain, Atishay D SBOBNG-PTIV/ZSO" userId="a81ed98b-90ff-49a1-98c1-044ad1fc7cf0" providerId="ADAL" clId="{3FA5FDC0-493C-4355-8537-E672EBA672B5}" dt="2024-08-31T03:46:03.956" v="561" actId="20577"/>
        <pc:sldMkLst>
          <pc:docMk/>
          <pc:sldMk cId="3754613224" sldId="2147375611"/>
        </pc:sldMkLst>
        <pc:spChg chg="mod">
          <ac:chgData name="Jain, Atishay D SBOBNG-PTIV/ZSO" userId="a81ed98b-90ff-49a1-98c1-044ad1fc7cf0" providerId="ADAL" clId="{3FA5FDC0-493C-4355-8537-E672EBA672B5}" dt="2024-08-31T03:46:03.956" v="561" actId="20577"/>
          <ac:spMkLst>
            <pc:docMk/>
            <pc:sldMk cId="3754613224" sldId="2147375611"/>
            <ac:spMk id="18" creationId="{6C73795A-BE20-7075-E9C6-6F145CE60794}"/>
          </ac:spMkLst>
        </pc:spChg>
      </pc:sldChg>
      <pc:sldChg chg="addSp delSp modSp mod">
        <pc:chgData name="Jain, Atishay D SBOBNG-PTIV/ZSO" userId="a81ed98b-90ff-49a1-98c1-044ad1fc7cf0" providerId="ADAL" clId="{3FA5FDC0-493C-4355-8537-E672EBA672B5}" dt="2024-08-31T04:01:26.490" v="689" actId="33524"/>
        <pc:sldMkLst>
          <pc:docMk/>
          <pc:sldMk cId="1148838763" sldId="2147375613"/>
        </pc:sldMkLst>
        <pc:spChg chg="mod">
          <ac:chgData name="Jain, Atishay D SBOBNG-PTIV/ZSO" userId="a81ed98b-90ff-49a1-98c1-044ad1fc7cf0" providerId="ADAL" clId="{3FA5FDC0-493C-4355-8537-E672EBA672B5}" dt="2024-08-31T04:01:26.490" v="689" actId="33524"/>
          <ac:spMkLst>
            <pc:docMk/>
            <pc:sldMk cId="1148838763" sldId="2147375613"/>
            <ac:spMk id="11" creationId="{8CC1343B-2E39-FEFF-8FF6-46822F18B432}"/>
          </ac:spMkLst>
        </pc:spChg>
        <pc:spChg chg="del mod">
          <ac:chgData name="Jain, Atishay D SBOBNG-PTIV/ZSO" userId="a81ed98b-90ff-49a1-98c1-044ad1fc7cf0" providerId="ADAL" clId="{3FA5FDC0-493C-4355-8537-E672EBA672B5}" dt="2024-08-31T03:55:37.580" v="656" actId="478"/>
          <ac:spMkLst>
            <pc:docMk/>
            <pc:sldMk cId="1148838763" sldId="2147375613"/>
            <ac:spMk id="12" creationId="{5A873A1A-E63F-91AE-7D43-ED0F86870147}"/>
          </ac:spMkLst>
        </pc:spChg>
        <pc:picChg chg="add mod">
          <ac:chgData name="Jain, Atishay D SBOBNG-PTIV/ZSO" userId="a81ed98b-90ff-49a1-98c1-044ad1fc7cf0" providerId="ADAL" clId="{3FA5FDC0-493C-4355-8537-E672EBA672B5}" dt="2024-08-31T03:57:06.074" v="659" actId="27614"/>
          <ac:picMkLst>
            <pc:docMk/>
            <pc:sldMk cId="1148838763" sldId="2147375613"/>
            <ac:picMk id="6" creationId="{E2B405C6-F684-7883-4F61-8CBCCAAFF97A}"/>
          </ac:picMkLst>
        </pc:picChg>
      </pc:sldChg>
      <pc:sldChg chg="modSp mod">
        <pc:chgData name="Jain, Atishay D SBOBNG-PTIV/ZSO" userId="a81ed98b-90ff-49a1-98c1-044ad1fc7cf0" providerId="ADAL" clId="{3FA5FDC0-493C-4355-8537-E672EBA672B5}" dt="2024-08-31T03:47:07.127" v="564" actId="255"/>
        <pc:sldMkLst>
          <pc:docMk/>
          <pc:sldMk cId="3865850111" sldId="2147375614"/>
        </pc:sldMkLst>
        <pc:spChg chg="mod">
          <ac:chgData name="Jain, Atishay D SBOBNG-PTIV/ZSO" userId="a81ed98b-90ff-49a1-98c1-044ad1fc7cf0" providerId="ADAL" clId="{3FA5FDC0-493C-4355-8537-E672EBA672B5}" dt="2024-08-31T03:47:07.127" v="564" actId="255"/>
          <ac:spMkLst>
            <pc:docMk/>
            <pc:sldMk cId="3865850111" sldId="2147375614"/>
            <ac:spMk id="6" creationId="{AC2F88D2-81D4-FAD4-568E-A3F495B06411}"/>
          </ac:spMkLst>
        </pc:spChg>
      </pc:sldChg>
      <pc:sldChg chg="addSp delSp modSp mod">
        <pc:chgData name="Jain, Atishay D SBOBNG-PTIV/ZSO" userId="a81ed98b-90ff-49a1-98c1-044ad1fc7cf0" providerId="ADAL" clId="{3FA5FDC0-493C-4355-8537-E672EBA672B5}" dt="2024-08-31T03:50:06.424" v="582" actId="1076"/>
        <pc:sldMkLst>
          <pc:docMk/>
          <pc:sldMk cId="661169168" sldId="2147375615"/>
        </pc:sldMkLst>
        <pc:spChg chg="del">
          <ac:chgData name="Jain, Atishay D SBOBNG-PTIV/ZSO" userId="a81ed98b-90ff-49a1-98c1-044ad1fc7cf0" providerId="ADAL" clId="{3FA5FDC0-493C-4355-8537-E672EBA672B5}" dt="2024-08-31T03:50:02.442" v="581" actId="478"/>
          <ac:spMkLst>
            <pc:docMk/>
            <pc:sldMk cId="661169168" sldId="2147375615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0:06.424" v="582" actId="1076"/>
          <ac:picMkLst>
            <pc:docMk/>
            <pc:sldMk cId="661169168" sldId="2147375615"/>
            <ac:picMk id="5" creationId="{1AFA159D-F3D2-CB37-47D1-932157B4797D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0:46.419" v="589" actId="1076"/>
        <pc:sldMkLst>
          <pc:docMk/>
          <pc:sldMk cId="2093717769" sldId="2147375616"/>
        </pc:sldMkLst>
        <pc:spChg chg="del mod">
          <ac:chgData name="Jain, Atishay D SBOBNG-PTIV/ZSO" userId="a81ed98b-90ff-49a1-98c1-044ad1fc7cf0" providerId="ADAL" clId="{3FA5FDC0-493C-4355-8537-E672EBA672B5}" dt="2024-08-31T03:50:38.696" v="587" actId="478"/>
          <ac:spMkLst>
            <pc:docMk/>
            <pc:sldMk cId="2093717769" sldId="2147375616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0:46.419" v="589" actId="1076"/>
          <ac:picMkLst>
            <pc:docMk/>
            <pc:sldMk cId="2093717769" sldId="2147375616"/>
            <ac:picMk id="5" creationId="{BF183D4A-CAAE-9DB2-8891-EE22F28E2D37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1:33.376" v="598" actId="478"/>
        <pc:sldMkLst>
          <pc:docMk/>
          <pc:sldMk cId="1218304297" sldId="2147375617"/>
        </pc:sldMkLst>
        <pc:spChg chg="add del mod">
          <ac:chgData name="Jain, Atishay D SBOBNG-PTIV/ZSO" userId="a81ed98b-90ff-49a1-98c1-044ad1fc7cf0" providerId="ADAL" clId="{3FA5FDC0-493C-4355-8537-E672EBA672B5}" dt="2024-08-31T03:51:33.376" v="598" actId="478"/>
          <ac:spMkLst>
            <pc:docMk/>
            <pc:sldMk cId="1218304297" sldId="2147375617"/>
            <ac:spMk id="6" creationId="{4DDD0D39-3EDC-E056-7EB8-62646A731607}"/>
          </ac:spMkLst>
        </pc:spChg>
        <pc:spChg chg="del mod">
          <ac:chgData name="Jain, Atishay D SBOBNG-PTIV/ZSO" userId="a81ed98b-90ff-49a1-98c1-044ad1fc7cf0" providerId="ADAL" clId="{3FA5FDC0-493C-4355-8537-E672EBA672B5}" dt="2024-08-31T03:51:15.099" v="592" actId="478"/>
          <ac:spMkLst>
            <pc:docMk/>
            <pc:sldMk cId="1218304297" sldId="2147375617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1:23.738" v="596" actId="1076"/>
          <ac:picMkLst>
            <pc:docMk/>
            <pc:sldMk cId="1218304297" sldId="2147375617"/>
            <ac:picMk id="5" creationId="{D64A594D-DC89-FEE5-1803-28FCD96A6040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2:40.871" v="628" actId="1076"/>
        <pc:sldMkLst>
          <pc:docMk/>
          <pc:sldMk cId="2405368044" sldId="2147375618"/>
        </pc:sldMkLst>
        <pc:spChg chg="del mod">
          <ac:chgData name="Jain, Atishay D SBOBNG-PTIV/ZSO" userId="a81ed98b-90ff-49a1-98c1-044ad1fc7cf0" providerId="ADAL" clId="{3FA5FDC0-493C-4355-8537-E672EBA672B5}" dt="2024-08-31T03:52:20.900" v="623" actId="478"/>
          <ac:spMkLst>
            <pc:docMk/>
            <pc:sldMk cId="2405368044" sldId="2147375618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2:40.871" v="628" actId="1076"/>
          <ac:picMkLst>
            <pc:docMk/>
            <pc:sldMk cId="2405368044" sldId="2147375618"/>
            <ac:picMk id="5" creationId="{584F6C0B-F6CC-FB1C-B86E-95E13EF0F46F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4:02.528" v="640" actId="27614"/>
        <pc:sldMkLst>
          <pc:docMk/>
          <pc:sldMk cId="758959793" sldId="2147375619"/>
        </pc:sldMkLst>
        <pc:spChg chg="add del mod">
          <ac:chgData name="Jain, Atishay D SBOBNG-PTIV/ZSO" userId="a81ed98b-90ff-49a1-98c1-044ad1fc7cf0" providerId="ADAL" clId="{3FA5FDC0-493C-4355-8537-E672EBA672B5}" dt="2024-08-31T03:53:33.778" v="637" actId="478"/>
          <ac:spMkLst>
            <pc:docMk/>
            <pc:sldMk cId="758959793" sldId="2147375619"/>
            <ac:spMk id="6" creationId="{47C931C2-EF4A-6917-72A7-485325F3EF99}"/>
          </ac:spMkLst>
        </pc:spChg>
        <pc:spChg chg="del">
          <ac:chgData name="Jain, Atishay D SBOBNG-PTIV/ZSO" userId="a81ed98b-90ff-49a1-98c1-044ad1fc7cf0" providerId="ADAL" clId="{3FA5FDC0-493C-4355-8537-E672EBA672B5}" dt="2024-08-31T03:53:18.610" v="630" actId="478"/>
          <ac:spMkLst>
            <pc:docMk/>
            <pc:sldMk cId="758959793" sldId="2147375619"/>
            <ac:spMk id="12" creationId="{E53E5C3F-4D2B-B85F-E592-E58E032C664C}"/>
          </ac:spMkLst>
        </pc:spChg>
        <pc:spChg chg="add mod">
          <ac:chgData name="Jain, Atishay D SBOBNG-PTIV/ZSO" userId="a81ed98b-90ff-49a1-98c1-044ad1fc7cf0" providerId="ADAL" clId="{3FA5FDC0-493C-4355-8537-E672EBA672B5}" dt="2024-08-31T03:53:59.440" v="639" actId="1076"/>
          <ac:spMkLst>
            <pc:docMk/>
            <pc:sldMk cId="758959793" sldId="2147375619"/>
            <ac:spMk id="14" creationId="{2B5CF04E-47A5-AC3C-AE57-544338269FB0}"/>
          </ac:spMkLst>
        </pc:spChg>
        <pc:picChg chg="add del mod">
          <ac:chgData name="Jain, Atishay D SBOBNG-PTIV/ZSO" userId="a81ed98b-90ff-49a1-98c1-044ad1fc7cf0" providerId="ADAL" clId="{3FA5FDC0-493C-4355-8537-E672EBA672B5}" dt="2024-08-31T03:53:33.778" v="637" actId="478"/>
          <ac:picMkLst>
            <pc:docMk/>
            <pc:sldMk cId="758959793" sldId="2147375619"/>
            <ac:picMk id="5" creationId="{3A266284-497F-84FD-D83C-4A5140173127}"/>
          </ac:picMkLst>
        </pc:picChg>
        <pc:picChg chg="add mod">
          <ac:chgData name="Jain, Atishay D SBOBNG-PTIV/ZSO" userId="a81ed98b-90ff-49a1-98c1-044ad1fc7cf0" providerId="ADAL" clId="{3FA5FDC0-493C-4355-8537-E672EBA672B5}" dt="2024-08-31T03:54:02.528" v="640" actId="27614"/>
          <ac:picMkLst>
            <pc:docMk/>
            <pc:sldMk cId="758959793" sldId="2147375619"/>
            <ac:picMk id="13" creationId="{EDA4DA31-8D4B-582C-DBBE-82CC5ACF9714}"/>
          </ac:picMkLst>
        </pc:picChg>
      </pc:sldChg>
      <pc:sldChg chg="addSp delSp modSp mod">
        <pc:chgData name="Jain, Atishay D SBOBNG-PTIV/ZSO" userId="a81ed98b-90ff-49a1-98c1-044ad1fc7cf0" providerId="ADAL" clId="{3FA5FDC0-493C-4355-8537-E672EBA672B5}" dt="2024-08-31T03:55:16.335" v="654"/>
        <pc:sldMkLst>
          <pc:docMk/>
          <pc:sldMk cId="2162975150" sldId="2147375622"/>
        </pc:sldMkLst>
        <pc:spChg chg="add mod">
          <ac:chgData name="Jain, Atishay D SBOBNG-PTIV/ZSO" userId="a81ed98b-90ff-49a1-98c1-044ad1fc7cf0" providerId="ADAL" clId="{3FA5FDC0-493C-4355-8537-E672EBA672B5}" dt="2024-08-31T03:55:16.335" v="654"/>
          <ac:spMkLst>
            <pc:docMk/>
            <pc:sldMk cId="2162975150" sldId="2147375622"/>
            <ac:spMk id="6" creationId="{EBBD330B-2DD7-EAFE-F415-38610F41885A}"/>
          </ac:spMkLst>
        </pc:spChg>
        <pc:spChg chg="del">
          <ac:chgData name="Jain, Atishay D SBOBNG-PTIV/ZSO" userId="a81ed98b-90ff-49a1-98c1-044ad1fc7cf0" providerId="ADAL" clId="{3FA5FDC0-493C-4355-8537-E672EBA672B5}" dt="2024-08-31T03:55:08.324" v="653" actId="478"/>
          <ac:spMkLst>
            <pc:docMk/>
            <pc:sldMk cId="2162975150" sldId="2147375622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3:55:16.335" v="654"/>
          <ac:picMkLst>
            <pc:docMk/>
            <pc:sldMk cId="2162975150" sldId="2147375622"/>
            <ac:picMk id="2" creationId="{1331558B-DB12-7265-FBF5-E60D4A79314B}"/>
          </ac:picMkLst>
        </pc:picChg>
      </pc:sldChg>
      <pc:sldChg chg="addSp delSp modSp add mod">
        <pc:chgData name="Jain, Atishay D SBOBNG-PTIV/ZSO" userId="a81ed98b-90ff-49a1-98c1-044ad1fc7cf0" providerId="ADAL" clId="{3FA5FDC0-493C-4355-8537-E672EBA672B5}" dt="2024-08-31T04:11:26.531" v="1477" actId="113"/>
        <pc:sldMkLst>
          <pc:docMk/>
          <pc:sldMk cId="760382086" sldId="2147375623"/>
        </pc:sldMkLst>
        <pc:spChg chg="mod">
          <ac:chgData name="Jain, Atishay D SBOBNG-PTIV/ZSO" userId="a81ed98b-90ff-49a1-98c1-044ad1fc7cf0" providerId="ADAL" clId="{3FA5FDC0-493C-4355-8537-E672EBA672B5}" dt="2024-08-31T03:44:30.497" v="427" actId="20577"/>
          <ac:spMkLst>
            <pc:docMk/>
            <pc:sldMk cId="760382086" sldId="2147375623"/>
            <ac:spMk id="3" creationId="{CEA128C4-A0BC-A895-713C-306E7FF62894}"/>
          </ac:spMkLst>
        </pc:spChg>
        <pc:spChg chg="mod">
          <ac:chgData name="Jain, Atishay D SBOBNG-PTIV/ZSO" userId="a81ed98b-90ff-49a1-98c1-044ad1fc7cf0" providerId="ADAL" clId="{3FA5FDC0-493C-4355-8537-E672EBA672B5}" dt="2024-08-31T04:11:26.531" v="1477" actId="113"/>
          <ac:spMkLst>
            <pc:docMk/>
            <pc:sldMk cId="760382086" sldId="2147375623"/>
            <ac:spMk id="11" creationId="{DE9F1BE0-7910-FA1B-DCE8-56EFD1E4FC09}"/>
          </ac:spMkLst>
        </pc:spChg>
        <pc:spChg chg="del">
          <ac:chgData name="Jain, Atishay D SBOBNG-PTIV/ZSO" userId="a81ed98b-90ff-49a1-98c1-044ad1fc7cf0" providerId="ADAL" clId="{3FA5FDC0-493C-4355-8537-E672EBA672B5}" dt="2024-08-31T04:01:00.291" v="686" actId="478"/>
          <ac:spMkLst>
            <pc:docMk/>
            <pc:sldMk cId="760382086" sldId="2147375623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4:01:01.007" v="687"/>
          <ac:picMkLst>
            <pc:docMk/>
            <pc:sldMk cId="760382086" sldId="2147375623"/>
            <ac:picMk id="5" creationId="{49732DF6-9349-B9B3-F50E-B4830C62EFA5}"/>
          </ac:picMkLst>
        </pc:picChg>
      </pc:sldChg>
      <pc:sldChg chg="addSp delSp modSp add mod">
        <pc:chgData name="Jain, Atishay D SBOBNG-PTIV/ZSO" userId="a81ed98b-90ff-49a1-98c1-044ad1fc7cf0" providerId="ADAL" clId="{3FA5FDC0-493C-4355-8537-E672EBA672B5}" dt="2024-08-31T04:04:38.175" v="849" actId="27614"/>
        <pc:sldMkLst>
          <pc:docMk/>
          <pc:sldMk cId="2115441983" sldId="2147375624"/>
        </pc:sldMkLst>
        <pc:spChg chg="mod">
          <ac:chgData name="Jain, Atishay D SBOBNG-PTIV/ZSO" userId="a81ed98b-90ff-49a1-98c1-044ad1fc7cf0" providerId="ADAL" clId="{3FA5FDC0-493C-4355-8537-E672EBA672B5}" dt="2024-08-31T04:02:39.729" v="694" actId="20577"/>
          <ac:spMkLst>
            <pc:docMk/>
            <pc:sldMk cId="2115441983" sldId="2147375624"/>
            <ac:spMk id="3" creationId="{CEA128C4-A0BC-A895-713C-306E7FF62894}"/>
          </ac:spMkLst>
        </pc:spChg>
        <pc:spChg chg="del">
          <ac:chgData name="Jain, Atishay D SBOBNG-PTIV/ZSO" userId="a81ed98b-90ff-49a1-98c1-044ad1fc7cf0" providerId="ADAL" clId="{3FA5FDC0-493C-4355-8537-E672EBA672B5}" dt="2024-08-31T04:04:18.659" v="844" actId="478"/>
          <ac:spMkLst>
            <pc:docMk/>
            <pc:sldMk cId="2115441983" sldId="2147375624"/>
            <ac:spMk id="8" creationId="{3C08E254-AFD1-BF6D-B5C5-E136625FDD55}"/>
          </ac:spMkLst>
        </pc:spChg>
        <pc:spChg chg="mod">
          <ac:chgData name="Jain, Atishay D SBOBNG-PTIV/ZSO" userId="a81ed98b-90ff-49a1-98c1-044ad1fc7cf0" providerId="ADAL" clId="{3FA5FDC0-493C-4355-8537-E672EBA672B5}" dt="2024-08-31T04:04:08.438" v="843" actId="20577"/>
          <ac:spMkLst>
            <pc:docMk/>
            <pc:sldMk cId="2115441983" sldId="2147375624"/>
            <ac:spMk id="11" creationId="{DE9F1BE0-7910-FA1B-DCE8-56EFD1E4FC09}"/>
          </ac:spMkLst>
        </pc:spChg>
        <pc:spChg chg="del">
          <ac:chgData name="Jain, Atishay D SBOBNG-PTIV/ZSO" userId="a81ed98b-90ff-49a1-98c1-044ad1fc7cf0" providerId="ADAL" clId="{3FA5FDC0-493C-4355-8537-E672EBA672B5}" dt="2024-08-31T04:04:19.595" v="845" actId="478"/>
          <ac:spMkLst>
            <pc:docMk/>
            <pc:sldMk cId="2115441983" sldId="2147375624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4:04:38.175" v="849" actId="27614"/>
          <ac:picMkLst>
            <pc:docMk/>
            <pc:sldMk cId="2115441983" sldId="2147375624"/>
            <ac:picMk id="5" creationId="{0F7FE23D-0FF7-F902-C0EC-DACD98DA8C50}"/>
          </ac:picMkLst>
        </pc:picChg>
        <pc:picChg chg="del">
          <ac:chgData name="Jain, Atishay D SBOBNG-PTIV/ZSO" userId="a81ed98b-90ff-49a1-98c1-044ad1fc7cf0" providerId="ADAL" clId="{3FA5FDC0-493C-4355-8537-E672EBA672B5}" dt="2024-08-31T04:04:18.659" v="844" actId="478"/>
          <ac:picMkLst>
            <pc:docMk/>
            <pc:sldMk cId="2115441983" sldId="2147375624"/>
            <ac:picMk id="6" creationId="{DEA3068F-16EB-6F2F-2B10-B3700BA28935}"/>
          </ac:picMkLst>
        </pc:picChg>
      </pc:sldChg>
      <pc:sldChg chg="addSp delSp modSp add mod">
        <pc:chgData name="Jain, Atishay D SBOBNG-PTIV/ZSO" userId="a81ed98b-90ff-49a1-98c1-044ad1fc7cf0" providerId="ADAL" clId="{3FA5FDC0-493C-4355-8537-E672EBA672B5}" dt="2024-08-31T04:07:17.196" v="1083" actId="27614"/>
        <pc:sldMkLst>
          <pc:docMk/>
          <pc:sldMk cId="1947115953" sldId="2147375625"/>
        </pc:sldMkLst>
        <pc:spChg chg="mod">
          <ac:chgData name="Jain, Atishay D SBOBNG-PTIV/ZSO" userId="a81ed98b-90ff-49a1-98c1-044ad1fc7cf0" providerId="ADAL" clId="{3FA5FDC0-493C-4355-8537-E672EBA672B5}" dt="2024-08-31T04:04:53.854" v="851" actId="20577"/>
          <ac:spMkLst>
            <pc:docMk/>
            <pc:sldMk cId="1947115953" sldId="2147375625"/>
            <ac:spMk id="3" creationId="{CEA128C4-A0BC-A895-713C-306E7FF62894}"/>
          </ac:spMkLst>
        </pc:spChg>
        <pc:spChg chg="del">
          <ac:chgData name="Jain, Atishay D SBOBNG-PTIV/ZSO" userId="a81ed98b-90ff-49a1-98c1-044ad1fc7cf0" providerId="ADAL" clId="{3FA5FDC0-493C-4355-8537-E672EBA672B5}" dt="2024-08-31T04:06:54.296" v="1078" actId="478"/>
          <ac:spMkLst>
            <pc:docMk/>
            <pc:sldMk cId="1947115953" sldId="2147375625"/>
            <ac:spMk id="8" creationId="{3C08E254-AFD1-BF6D-B5C5-E136625FDD55}"/>
          </ac:spMkLst>
        </pc:spChg>
        <pc:spChg chg="mod">
          <ac:chgData name="Jain, Atishay D SBOBNG-PTIV/ZSO" userId="a81ed98b-90ff-49a1-98c1-044ad1fc7cf0" providerId="ADAL" clId="{3FA5FDC0-493C-4355-8537-E672EBA672B5}" dt="2024-08-31T04:06:44.032" v="1077" actId="313"/>
          <ac:spMkLst>
            <pc:docMk/>
            <pc:sldMk cId="1947115953" sldId="2147375625"/>
            <ac:spMk id="11" creationId="{DE9F1BE0-7910-FA1B-DCE8-56EFD1E4FC09}"/>
          </ac:spMkLst>
        </pc:spChg>
        <pc:spChg chg="del">
          <ac:chgData name="Jain, Atishay D SBOBNG-PTIV/ZSO" userId="a81ed98b-90ff-49a1-98c1-044ad1fc7cf0" providerId="ADAL" clId="{3FA5FDC0-493C-4355-8537-E672EBA672B5}" dt="2024-08-31T04:06:55.473" v="1079" actId="478"/>
          <ac:spMkLst>
            <pc:docMk/>
            <pc:sldMk cId="1947115953" sldId="2147375625"/>
            <ac:spMk id="12" creationId="{E53E5C3F-4D2B-B85F-E592-E58E032C664C}"/>
          </ac:spMkLst>
        </pc:spChg>
        <pc:picChg chg="add mod">
          <ac:chgData name="Jain, Atishay D SBOBNG-PTIV/ZSO" userId="a81ed98b-90ff-49a1-98c1-044ad1fc7cf0" providerId="ADAL" clId="{3FA5FDC0-493C-4355-8537-E672EBA672B5}" dt="2024-08-31T04:07:17.196" v="1083" actId="27614"/>
          <ac:picMkLst>
            <pc:docMk/>
            <pc:sldMk cId="1947115953" sldId="2147375625"/>
            <ac:picMk id="5" creationId="{2D23850B-9698-C347-AF0F-4DE635967235}"/>
          </ac:picMkLst>
        </pc:picChg>
        <pc:picChg chg="del">
          <ac:chgData name="Jain, Atishay D SBOBNG-PTIV/ZSO" userId="a81ed98b-90ff-49a1-98c1-044ad1fc7cf0" providerId="ADAL" clId="{3FA5FDC0-493C-4355-8537-E672EBA672B5}" dt="2024-08-31T04:06:54.296" v="1078" actId="478"/>
          <ac:picMkLst>
            <pc:docMk/>
            <pc:sldMk cId="1947115953" sldId="2147375625"/>
            <ac:picMk id="6" creationId="{DEA3068F-16EB-6F2F-2B10-B3700BA28935}"/>
          </ac:picMkLst>
        </pc:picChg>
      </pc:sldChg>
      <pc:sldChg chg="modSp add mod">
        <pc:chgData name="Jain, Atishay D SBOBNG-PTIV/ZSO" userId="a81ed98b-90ff-49a1-98c1-044ad1fc7cf0" providerId="ADAL" clId="{3FA5FDC0-493C-4355-8537-E672EBA672B5}" dt="2024-08-31T04:10:36.225" v="1473" actId="20577"/>
        <pc:sldMkLst>
          <pc:docMk/>
          <pc:sldMk cId="3632351326" sldId="2147375626"/>
        </pc:sldMkLst>
        <pc:spChg chg="mod">
          <ac:chgData name="Jain, Atishay D SBOBNG-PTIV/ZSO" userId="a81ed98b-90ff-49a1-98c1-044ad1fc7cf0" providerId="ADAL" clId="{3FA5FDC0-493C-4355-8537-E672EBA672B5}" dt="2024-08-31T04:07:52.689" v="1086" actId="20577"/>
          <ac:spMkLst>
            <pc:docMk/>
            <pc:sldMk cId="3632351326" sldId="2147375626"/>
            <ac:spMk id="3" creationId="{CEA128C4-A0BC-A895-713C-306E7FF62894}"/>
          </ac:spMkLst>
        </pc:spChg>
        <pc:spChg chg="mod">
          <ac:chgData name="Jain, Atishay D SBOBNG-PTIV/ZSO" userId="a81ed98b-90ff-49a1-98c1-044ad1fc7cf0" providerId="ADAL" clId="{3FA5FDC0-493C-4355-8537-E672EBA672B5}" dt="2024-08-31T04:10:36.225" v="1473" actId="20577"/>
          <ac:spMkLst>
            <pc:docMk/>
            <pc:sldMk cId="3632351326" sldId="2147375626"/>
            <ac:spMk id="11" creationId="{DE9F1BE0-7910-FA1B-DCE8-56EFD1E4FC09}"/>
          </ac:spMkLst>
        </pc:spChg>
      </pc:sldChg>
      <pc:sldChg chg="modSp add mod">
        <pc:chgData name="Jain, Atishay D SBOBNG-PTIV/ZSO" userId="a81ed98b-90ff-49a1-98c1-044ad1fc7cf0" providerId="ADAL" clId="{3FA5FDC0-493C-4355-8537-E672EBA672B5}" dt="2024-08-31T04:12:12.971" v="1579" actId="20577"/>
        <pc:sldMkLst>
          <pc:docMk/>
          <pc:sldMk cId="1246741846" sldId="2147375627"/>
        </pc:sldMkLst>
        <pc:spChg chg="mod">
          <ac:chgData name="Jain, Atishay D SBOBNG-PTIV/ZSO" userId="a81ed98b-90ff-49a1-98c1-044ad1fc7cf0" providerId="ADAL" clId="{3FA5FDC0-493C-4355-8537-E672EBA672B5}" dt="2024-08-31T04:10:57.118" v="1476" actId="20577"/>
          <ac:spMkLst>
            <pc:docMk/>
            <pc:sldMk cId="1246741846" sldId="2147375627"/>
            <ac:spMk id="3" creationId="{CEA128C4-A0BC-A895-713C-306E7FF62894}"/>
          </ac:spMkLst>
        </pc:spChg>
        <pc:spChg chg="mod">
          <ac:chgData name="Jain, Atishay D SBOBNG-PTIV/ZSO" userId="a81ed98b-90ff-49a1-98c1-044ad1fc7cf0" providerId="ADAL" clId="{3FA5FDC0-493C-4355-8537-E672EBA672B5}" dt="2024-08-31T04:12:12.971" v="1579" actId="20577"/>
          <ac:spMkLst>
            <pc:docMk/>
            <pc:sldMk cId="1246741846" sldId="2147375627"/>
            <ac:spMk id="11" creationId="{DE9F1BE0-7910-FA1B-DCE8-56EFD1E4FC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6850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443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200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en/teamwork-co-workers-office-business-383939/" TargetMode="External"/><Relationship Id="rId3" Type="http://schemas.openxmlformats.org/officeDocument/2006/relationships/oleObject" Target="../embeddings/oleObject9.bin"/><Relationship Id="rId7" Type="http://schemas.openxmlformats.org/officeDocument/2006/relationships/image" Target="../media/image3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ctlt.ubc.ca/2012/05/25/effective-media-and-presentation-skills/" TargetMode="External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10" Type="http://schemas.openxmlformats.org/officeDocument/2006/relationships/hyperlink" Target="https://creativecommons.org/licenses/by-nc-sa/3.0/" TargetMode="External"/><Relationship Id="rId4" Type="http://schemas.openxmlformats.org/officeDocument/2006/relationships/oleObject" Target="../embeddings/oleObject12.bin"/><Relationship Id="rId9" Type="http://schemas.openxmlformats.org/officeDocument/2006/relationships/hyperlink" Target="https://itwiki.kr/w/SCRUM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m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tmp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ell_Oil_Company" TargetMode="External"/><Relationship Id="rId3" Type="http://schemas.openxmlformats.org/officeDocument/2006/relationships/oleObject" Target="../embeddings/oleObject1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ell_Oil_Company" TargetMode="External"/><Relationship Id="rId3" Type="http://schemas.openxmlformats.org/officeDocument/2006/relationships/oleObject" Target="../embeddings/oleObject16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ell_Oil_Company" TargetMode="External"/><Relationship Id="rId3" Type="http://schemas.openxmlformats.org/officeDocument/2006/relationships/oleObject" Target="../embeddings/oleObject17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s://pxhere.com/en/photo/1508747" TargetMode="Externa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ell_Oil_Company" TargetMode="External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ell_Oil_Company" TargetMode="External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icpedia.org/highway-signs/c/challenge.html" TargetMode="External"/><Relationship Id="rId3" Type="http://schemas.openxmlformats.org/officeDocument/2006/relationships/oleObject" Target="../embeddings/oleObject20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icpedia.org/highway-signs/c/challenge.html" TargetMode="External"/><Relationship Id="rId3" Type="http://schemas.openxmlformats.org/officeDocument/2006/relationships/oleObject" Target="../embeddings/oleObject21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icpedia.org/highway-signs/c/challenge.html" TargetMode="External"/><Relationship Id="rId3" Type="http://schemas.openxmlformats.org/officeDocument/2006/relationships/oleObject" Target="../embeddings/oleObject22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icpedia.org/highway-signs/c/challenge.html" TargetMode="External"/><Relationship Id="rId3" Type="http://schemas.openxmlformats.org/officeDocument/2006/relationships/oleObject" Target="../embeddings/oleObject23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icpedia.org/highway-signs/c/challenge.html" TargetMode="External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stock.com/free-photos/group-casual-happy-people-succesful-girl-14046571" TargetMode="External"/><Relationship Id="rId3" Type="http://schemas.openxmlformats.org/officeDocument/2006/relationships/oleObject" Target="../embeddings/oleObject26.bin"/><Relationship Id="rId7" Type="http://schemas.openxmlformats.org/officeDocument/2006/relationships/image" Target="../media/image4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2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21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orditout.com/word-cloud/4085436" TargetMode="External"/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s/photo/1175250" TargetMode="External"/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1557443" TargetMode="External"/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technofaq.org/posts/2015/10/top-10-conference-call-services-for-small-businesses/" TargetMode="External"/><Relationship Id="rId3" Type="http://schemas.openxmlformats.org/officeDocument/2006/relationships/oleObject" Target="../embeddings/oleObject6.bin"/><Relationship Id="rId7" Type="http://schemas.openxmlformats.org/officeDocument/2006/relationships/image" Target="../media/image28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thebluediamondgallery.com/hand-held-card/s/stakeholders.html" TargetMode="External"/><Relationship Id="rId3" Type="http://schemas.openxmlformats.org/officeDocument/2006/relationships/oleObject" Target="../embeddings/oleObject7.bin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tm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tishay Ja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Benefits of Teamwork</a:t>
            </a:r>
          </a:p>
          <a:p>
            <a:r>
              <a:rPr lang="en-US" sz="2000" dirty="0"/>
              <a:t>Encourages personal growth and increases job satisfaction</a:t>
            </a:r>
          </a:p>
          <a:p>
            <a:r>
              <a:rPr lang="en-US" sz="2000" dirty="0"/>
              <a:t>Reduces stress increases efficiency by sharing the workload</a:t>
            </a:r>
          </a:p>
          <a:p>
            <a:r>
              <a:rPr lang="en-US" sz="2000" dirty="0"/>
              <a:t>Boosts accountability</a:t>
            </a:r>
          </a:p>
          <a:p>
            <a:pPr marL="0" indent="0">
              <a:buNone/>
            </a:pPr>
            <a:r>
              <a:rPr lang="en-US" sz="2000" b="1" dirty="0"/>
              <a:t>Stages of Development (Tuckman Model)</a:t>
            </a:r>
          </a:p>
          <a:p>
            <a:r>
              <a:rPr lang="en-US" sz="2000" dirty="0"/>
              <a:t>Performing</a:t>
            </a:r>
          </a:p>
          <a:p>
            <a:r>
              <a:rPr lang="en-US" sz="2000" dirty="0"/>
              <a:t>Forming</a:t>
            </a:r>
          </a:p>
          <a:p>
            <a:r>
              <a:rPr lang="en-US" sz="2000" dirty="0"/>
              <a:t>Storming</a:t>
            </a:r>
          </a:p>
          <a:p>
            <a:r>
              <a:rPr lang="en-US" sz="2000" dirty="0"/>
              <a:t>Norming</a:t>
            </a:r>
          </a:p>
        </p:txBody>
      </p:sp>
      <p:pic>
        <p:nvPicPr>
          <p:cNvPr id="5" name="Picture 4" descr="A close-up of people holding hands&#10;&#10;Description automatically generated">
            <a:extLst>
              <a:ext uri="{FF2B5EF4-FFF2-40B4-BE49-F238E27FC236}">
                <a16:creationId xmlns:a16="http://schemas.microsoft.com/office/drawing/2014/main" id="{584F6C0B-F6CC-FB1C-B86E-95E13EF0F4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321632" y="1941742"/>
            <a:ext cx="5653806" cy="36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368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5P of Presentation</a:t>
            </a:r>
          </a:p>
          <a:p>
            <a:r>
              <a:rPr lang="en-US" sz="2000" dirty="0"/>
              <a:t>Profile, Pitch, Pace, and Practice</a:t>
            </a:r>
          </a:p>
          <a:p>
            <a:pPr marL="0" indent="0">
              <a:buNone/>
            </a:pPr>
            <a:r>
              <a:rPr lang="en-US" sz="2000" b="1" dirty="0"/>
              <a:t>Logical Structure should be followed in PPT</a:t>
            </a:r>
          </a:p>
          <a:p>
            <a:pPr marL="0" indent="0">
              <a:buNone/>
            </a:pPr>
            <a:r>
              <a:rPr lang="en-US" sz="2000" b="1" dirty="0"/>
              <a:t>AAB strategy should be followed for presentation</a:t>
            </a:r>
          </a:p>
          <a:p>
            <a:pPr marL="0" indent="0">
              <a:buNone/>
            </a:pPr>
            <a:r>
              <a:rPr lang="en-US" sz="2000" b="1" dirty="0"/>
              <a:t>How do I personally see this concept implemented in the Energy sector</a:t>
            </a:r>
            <a:r>
              <a:rPr lang="en-US" sz="2000" dirty="0"/>
              <a:t>: In energy sector teamwork and presentation is required to convey the idea and things to be done on time and efficiently.</a:t>
            </a:r>
          </a:p>
        </p:txBody>
      </p:sp>
      <p:pic>
        <p:nvPicPr>
          <p:cNvPr id="13" name="Picture 12" descr="A group of people in a room&#10;&#10;Description automatically generated">
            <a:extLst>
              <a:ext uri="{FF2B5EF4-FFF2-40B4-BE49-F238E27FC236}">
                <a16:creationId xmlns:a16="http://schemas.microsoft.com/office/drawing/2014/main" id="{EDA4DA31-8D4B-582C-DBBE-82CC5ACF97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15806" y="2381250"/>
            <a:ext cx="5334000" cy="28575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B5CF04E-47A5-AC3C-AE57-544338269FB0}"/>
              </a:ext>
            </a:extLst>
          </p:cNvPr>
          <p:cNvSpPr txBox="1"/>
          <p:nvPr/>
        </p:nvSpPr>
        <p:spPr>
          <a:xfrm>
            <a:off x="6415806" y="5238750"/>
            <a:ext cx="533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ctlt.ubc.ca/2012/05/25/effective-media-and-presentation-skills/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7589597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Business Analysis</a:t>
            </a:r>
          </a:p>
          <a:p>
            <a:r>
              <a:rPr lang="en-US" sz="2000" dirty="0"/>
              <a:t>Requirement analysis (functional vs non-functional)</a:t>
            </a:r>
          </a:p>
          <a:p>
            <a:r>
              <a:rPr lang="en-US" sz="2000" dirty="0"/>
              <a:t>Requirement Elicitation and techniques</a:t>
            </a:r>
          </a:p>
          <a:p>
            <a:r>
              <a:rPr lang="en-US" sz="2000" dirty="0"/>
              <a:t>Requirement modeling(scenario-based, class-based and data based</a:t>
            </a:r>
          </a:p>
          <a:p>
            <a:r>
              <a:rPr lang="en-US" sz="2000" dirty="0"/>
              <a:t>Requirement management and its importance</a:t>
            </a:r>
          </a:p>
          <a:p>
            <a:r>
              <a:rPr lang="en-US" sz="2000" dirty="0"/>
              <a:t>Requirement management techniques (Work breakdown structure, Gantt Chart, Critical path method, waterfall model, Kanban, and Scrum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person holding a sign with question marks on it&#10;&#10;Description automatically generated">
            <a:extLst>
              <a:ext uri="{FF2B5EF4-FFF2-40B4-BE49-F238E27FC236}">
                <a16:creationId xmlns:a16="http://schemas.microsoft.com/office/drawing/2014/main" id="{51A6B800-CA3E-0231-02C1-3D260DFEC72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162" y="1860993"/>
            <a:ext cx="5841790" cy="4076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722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593158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Agile methodology(SCRUM)</a:t>
            </a:r>
          </a:p>
          <a:p>
            <a:pPr marL="0" indent="0">
              <a:buNone/>
            </a:pPr>
            <a:r>
              <a:rPr lang="en-US" sz="2000" dirty="0"/>
              <a:t>A project management framework that breaks projects down into several dynamic phases, commonly known as sprints.</a:t>
            </a:r>
          </a:p>
          <a:p>
            <a:r>
              <a:rPr lang="en-US" sz="2000" dirty="0"/>
              <a:t>Scrum is an agile framework for team collaboration and problem solving, inspired by the sport of rugby</a:t>
            </a:r>
          </a:p>
          <a:p>
            <a:r>
              <a:rPr lang="en-US" sz="2000" dirty="0"/>
              <a:t>Three pillars (Transparency, Inspection and Adaptation)</a:t>
            </a:r>
          </a:p>
          <a:p>
            <a:r>
              <a:rPr lang="en-US" sz="2000" dirty="0"/>
              <a:t>Time: Sprint(2-4 weeks), Daily scrum(15min), Planning + Review+ Retrospection(2-4) hours</a:t>
            </a:r>
          </a:p>
          <a:p>
            <a:r>
              <a:rPr lang="en-US" sz="2000" dirty="0"/>
              <a:t>Benefits: Adaptability, High velocity, Continuous improvement, Sustainable pace, Faster problem resolution, customer centric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diagram of a scrum&#10;&#10;Description automatically generated">
            <a:extLst>
              <a:ext uri="{FF2B5EF4-FFF2-40B4-BE49-F238E27FC236}">
                <a16:creationId xmlns:a16="http://schemas.microsoft.com/office/drawing/2014/main" id="{DEA3068F-16EB-6F2F-2B10-B3700BA289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6449323" y="1970061"/>
            <a:ext cx="5246828" cy="40310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08E254-AFD1-BF6D-B5C5-E136625FDD55}"/>
              </a:ext>
            </a:extLst>
          </p:cNvPr>
          <p:cNvSpPr txBox="1"/>
          <p:nvPr/>
        </p:nvSpPr>
        <p:spPr>
          <a:xfrm>
            <a:off x="6477000" y="5850925"/>
            <a:ext cx="52468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9" tooltip="https://itwiki.kr/w/SCRUM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10" tooltip="https://creativecommons.org/licenses/by-nc-sa/3.0/"/>
              </a:rPr>
              <a:t>CC BY-SA-NC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25686893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593158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Components of SCRUM</a:t>
            </a:r>
          </a:p>
          <a:p>
            <a:r>
              <a:rPr lang="en-US" sz="2000" dirty="0"/>
              <a:t>Epic</a:t>
            </a:r>
          </a:p>
          <a:p>
            <a:r>
              <a:rPr lang="en-US" sz="2000" dirty="0"/>
              <a:t>User Story</a:t>
            </a:r>
          </a:p>
          <a:p>
            <a:r>
              <a:rPr lang="en-US" sz="2000" dirty="0"/>
              <a:t>Task</a:t>
            </a:r>
          </a:p>
          <a:p>
            <a:r>
              <a:rPr lang="en-US" sz="2000" dirty="0"/>
              <a:t>Sub Task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Business Feature</a:t>
            </a:r>
          </a:p>
          <a:p>
            <a:r>
              <a:rPr lang="en-US" sz="2000" dirty="0"/>
              <a:t>Feature</a:t>
            </a:r>
          </a:p>
          <a:p>
            <a:r>
              <a:rPr lang="en-US" sz="2000" dirty="0"/>
              <a:t>User Story</a:t>
            </a:r>
          </a:p>
          <a:p>
            <a:r>
              <a:rPr lang="en-US" sz="2000" dirty="0"/>
              <a:t>Enabler Story</a:t>
            </a:r>
          </a:p>
          <a:p>
            <a:r>
              <a:rPr lang="en-US" sz="2000" dirty="0"/>
              <a:t>Acceptance Criteria</a:t>
            </a:r>
          </a:p>
          <a:p>
            <a:endParaRPr lang="en-US" sz="2000" b="1" dirty="0"/>
          </a:p>
        </p:txBody>
      </p:sp>
      <p:pic>
        <p:nvPicPr>
          <p:cNvPr id="5" name="Picture 4" descr="A diagram of scrum and kanban&#10;&#10;Description automatically generated">
            <a:extLst>
              <a:ext uri="{FF2B5EF4-FFF2-40B4-BE49-F238E27FC236}">
                <a16:creationId xmlns:a16="http://schemas.microsoft.com/office/drawing/2014/main" id="{0F7FE23D-0FF7-F902-C0EC-DACD98DA8C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714" y="1860993"/>
            <a:ext cx="5915857" cy="451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4419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593158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KANBA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 Kanban method is an approach to evolutionary and incremental systems and process change for organization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tory Pointing </a:t>
            </a:r>
          </a:p>
          <a:p>
            <a:r>
              <a:rPr lang="en-US" sz="2000" dirty="0"/>
              <a:t>Feature</a:t>
            </a:r>
          </a:p>
          <a:p>
            <a:r>
              <a:rPr lang="en-US" sz="2000" dirty="0"/>
              <a:t>Benefit Hypothesis</a:t>
            </a:r>
          </a:p>
          <a:p>
            <a:r>
              <a:rPr lang="en-US" sz="2000" dirty="0"/>
              <a:t>Acceptance Criteria</a:t>
            </a:r>
          </a:p>
          <a:p>
            <a:r>
              <a:rPr lang="en-US" sz="2000" dirty="0"/>
              <a:t>User Story</a:t>
            </a:r>
          </a:p>
          <a:p>
            <a:r>
              <a:rPr lang="en-US" sz="2000" dirty="0"/>
              <a:t>Enabler Story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 descr="A diagram of scrum and kanban&#10;&#10;Description automatically generated">
            <a:extLst>
              <a:ext uri="{FF2B5EF4-FFF2-40B4-BE49-F238E27FC236}">
                <a16:creationId xmlns:a16="http://schemas.microsoft.com/office/drawing/2014/main" id="{2D23850B-9698-C347-AF0F-4DE6359672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921" y="2272354"/>
            <a:ext cx="4397880" cy="329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159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5891" y="1504122"/>
            <a:ext cx="5797798" cy="47899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Implementation of Professionalism in Shell</a:t>
            </a:r>
          </a:p>
          <a:p>
            <a:r>
              <a:rPr lang="en-US" sz="2000" dirty="0"/>
              <a:t>We set clear expectations and conduct regular performance reviews to ensure team members take ownership of their roles</a:t>
            </a:r>
          </a:p>
          <a:p>
            <a:r>
              <a:rPr lang="en-US" sz="2000" dirty="0"/>
              <a:t>We use project management tools to track deadlines and deliverables, ensuring consistent performance.</a:t>
            </a:r>
          </a:p>
          <a:p>
            <a:r>
              <a:rPr lang="en-US" sz="2000" dirty="0"/>
              <a:t>We uphold ethical standards with strict code of conduct</a:t>
            </a:r>
          </a:p>
          <a:p>
            <a:r>
              <a:rPr lang="en-US" sz="2000" dirty="0"/>
              <a:t>We foster a inclusive environment with diversity training </a:t>
            </a:r>
          </a:p>
          <a:p>
            <a:r>
              <a:rPr lang="en-US" sz="2000" dirty="0"/>
              <a:t>We support continuous learning and offer cross-training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yellow and red shell logo&#10;&#10;Description automatically generated">
            <a:extLst>
              <a:ext uri="{FF2B5EF4-FFF2-40B4-BE49-F238E27FC236}">
                <a16:creationId xmlns:a16="http://schemas.microsoft.com/office/drawing/2014/main" id="{70C2F097-F2DA-B97D-86A2-13B4CCF6FD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36012" y="1504122"/>
            <a:ext cx="4748267" cy="44000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8825E09-F20E-B215-3501-101034B951CB}"/>
              </a:ext>
            </a:extLst>
          </p:cNvPr>
          <p:cNvSpPr txBox="1"/>
          <p:nvPr/>
        </p:nvSpPr>
        <p:spPr>
          <a:xfrm>
            <a:off x="2395640" y="6858000"/>
            <a:ext cx="7400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en.wikipedia.org/wiki/Shell_Oil_Company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hell aims to provide stakeholder value which is one of the basic operating principle of the organization.</a:t>
            </a:r>
          </a:p>
          <a:p>
            <a:pPr marL="0" indent="0">
              <a:buNone/>
            </a:pPr>
            <a:r>
              <a:rPr lang="en-US" sz="2000" dirty="0"/>
              <a:t>Based on the power and interest shell provides shareholder value to all of its shareholder in some way</a:t>
            </a:r>
          </a:p>
          <a:p>
            <a:pPr marL="0" indent="0">
              <a:buNone/>
            </a:pPr>
            <a:r>
              <a:rPr lang="en-US" sz="2000" dirty="0"/>
              <a:t>Shell implements teamwork by sharing workload reasonably among the team to avoid burn-outs. Also encourages to ask for help when needed 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A yellow and red shell logo&#10;&#10;Description automatically generated">
            <a:extLst>
              <a:ext uri="{FF2B5EF4-FFF2-40B4-BE49-F238E27FC236}">
                <a16:creationId xmlns:a16="http://schemas.microsoft.com/office/drawing/2014/main" id="{7E44F683-01B1-85F8-982D-712A661BF9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36012" y="1504122"/>
            <a:ext cx="4748267" cy="44000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08F35F-8797-0F12-91D3-D6A6F96CF656}"/>
              </a:ext>
            </a:extLst>
          </p:cNvPr>
          <p:cNvSpPr txBox="1"/>
          <p:nvPr/>
        </p:nvSpPr>
        <p:spPr>
          <a:xfrm>
            <a:off x="2395640" y="6858000"/>
            <a:ext cx="7400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en.wikipedia.org/wiki/Shell_Oil_Company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 benefits of teamwork reflects in the way shell delivers its IT services and products to various client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is work-life balance reflects the organization’s remarkable record to be able to retain it’s employees for a longer duration of tim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way to make PPT’s reflects the organization’s professionalism towards the client meetings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A yellow and red shell logo&#10;&#10;Description automatically generated">
            <a:extLst>
              <a:ext uri="{FF2B5EF4-FFF2-40B4-BE49-F238E27FC236}">
                <a16:creationId xmlns:a16="http://schemas.microsoft.com/office/drawing/2014/main" id="{75E27F53-42E6-A2D2-6662-24741B2B84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36012" y="1504122"/>
            <a:ext cx="4748267" cy="44000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C73FC79-B9F6-42ED-BCF9-4AB11E562E65}"/>
              </a:ext>
            </a:extLst>
          </p:cNvPr>
          <p:cNvSpPr txBox="1"/>
          <p:nvPr/>
        </p:nvSpPr>
        <p:spPr>
          <a:xfrm>
            <a:off x="2395640" y="6858000"/>
            <a:ext cx="7400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en.wikipedia.org/wiki/Shell_Oil_Company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909555" y="1831737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I am a dedicated and driven individual who values loyalty, focus and commitment in all the aspects of my life.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erson standing on a rocky mountain&#10;&#10;Description automatically generated">
            <a:extLst>
              <a:ext uri="{FF2B5EF4-FFF2-40B4-BE49-F238E27FC236}">
                <a16:creationId xmlns:a16="http://schemas.microsoft.com/office/drawing/2014/main" id="{8C1F0670-DA80-2C7A-16C4-426373D8143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8006080" y="1834674"/>
            <a:ext cx="3057181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All the various team working to deliver Shell IT products and services operate under the SCRUM (agile SDLC model) rather than following the traditional waterfall model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is provides flexibility and optimal usage of resources both technical as well as human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Operating under this model all the teams have a daily scrum meeting at the start of the working day in which the tasks for the day are discussed and a follow up meeting at the end of the day 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A yellow and red shell logo&#10;&#10;Description automatically generated">
            <a:extLst>
              <a:ext uri="{FF2B5EF4-FFF2-40B4-BE49-F238E27FC236}">
                <a16:creationId xmlns:a16="http://schemas.microsoft.com/office/drawing/2014/main" id="{1331558B-DB12-7265-FBF5-E60D4A7931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36012" y="1504122"/>
            <a:ext cx="4748267" cy="44000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BD330B-2DD7-EAFE-F415-38610F41885A}"/>
              </a:ext>
            </a:extLst>
          </p:cNvPr>
          <p:cNvSpPr txBox="1"/>
          <p:nvPr/>
        </p:nvSpPr>
        <p:spPr>
          <a:xfrm>
            <a:off x="2395640" y="6858000"/>
            <a:ext cx="7400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en.wikipedia.org/wiki/Shell_Oil_Company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21629751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hell implements these learnings by conducting Sprints of a given Epic or a feature and follow up meeting regarding the same with the client to make sure they too are satisfied</a:t>
            </a:r>
          </a:p>
          <a:p>
            <a:pPr marL="0" indent="0">
              <a:buNone/>
            </a:pPr>
            <a:r>
              <a:rPr lang="en-US" sz="2000" dirty="0"/>
              <a:t>Shell benefits from this by increasing the transparency to the user and their requirement .</a:t>
            </a:r>
          </a:p>
          <a:p>
            <a:pPr marL="0" indent="0">
              <a:buNone/>
            </a:pPr>
            <a:r>
              <a:rPr lang="en-US" sz="2000" dirty="0"/>
              <a:t>Conducting sprints helps identify the underlying cause of the problem and backlogs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A yellow and red shell logo&#10;&#10;Description automatically generated">
            <a:extLst>
              <a:ext uri="{FF2B5EF4-FFF2-40B4-BE49-F238E27FC236}">
                <a16:creationId xmlns:a16="http://schemas.microsoft.com/office/drawing/2014/main" id="{1331558B-DB12-7265-FBF5-E60D4A7931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36012" y="1504122"/>
            <a:ext cx="4748267" cy="44000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BD330B-2DD7-EAFE-F415-38610F41885A}"/>
              </a:ext>
            </a:extLst>
          </p:cNvPr>
          <p:cNvSpPr txBox="1"/>
          <p:nvPr/>
        </p:nvSpPr>
        <p:spPr>
          <a:xfrm>
            <a:off x="2395640" y="6858000"/>
            <a:ext cx="7400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en.wikipedia.org/wiki/Shell_Oil_Company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6323513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s faced while implementing</a:t>
            </a:r>
          </a:p>
          <a:p>
            <a:r>
              <a:rPr lang="en-US" sz="2000" dirty="0"/>
              <a:t>Cultural resistance</a:t>
            </a:r>
          </a:p>
          <a:p>
            <a:r>
              <a:rPr lang="en-US" sz="2000" dirty="0"/>
              <a:t>Consistency across Regions</a:t>
            </a:r>
          </a:p>
          <a:p>
            <a:r>
              <a:rPr lang="en-US" sz="2000" dirty="0"/>
              <a:t>Measurement and Accountability</a:t>
            </a:r>
          </a:p>
          <a:p>
            <a:r>
              <a:rPr lang="en-US" sz="2000" dirty="0"/>
              <a:t>Time Constraints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16" name="Picture 15" descr="A close-up of a sign&#10;&#10;Description automatically generated">
            <a:extLst>
              <a:ext uri="{FF2B5EF4-FFF2-40B4-BE49-F238E27FC236}">
                <a16:creationId xmlns:a16="http://schemas.microsoft.com/office/drawing/2014/main" id="{0CDD5824-DE18-33A2-E0D7-27230C98A9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860993"/>
            <a:ext cx="6032954" cy="4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hallenge faced while implementing:</a:t>
            </a:r>
          </a:p>
          <a:p>
            <a:r>
              <a:rPr lang="en-US" sz="2000" dirty="0"/>
              <a:t>Diverse Stakeholder interest</a:t>
            </a:r>
          </a:p>
          <a:p>
            <a:r>
              <a:rPr lang="en-US" sz="2000" dirty="0"/>
              <a:t>Communication barriers</a:t>
            </a:r>
          </a:p>
          <a:p>
            <a:r>
              <a:rPr lang="en-US" sz="2000" dirty="0"/>
              <a:t>Resource Allocation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050D4528-8760-E745-48E0-74F9C37754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860993"/>
            <a:ext cx="6032954" cy="4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hallenge faced while implementing</a:t>
            </a:r>
          </a:p>
          <a:p>
            <a:r>
              <a:rPr lang="en-US" sz="2000" dirty="0"/>
              <a:t>Geographical Dispersion</a:t>
            </a:r>
          </a:p>
          <a:p>
            <a:r>
              <a:rPr lang="en-US" sz="2000" dirty="0"/>
              <a:t>Diverse Work Cultures leading to misunderstanding sometimes</a:t>
            </a:r>
          </a:p>
          <a:p>
            <a:r>
              <a:rPr lang="en-US" sz="2000" dirty="0"/>
              <a:t>Role Clarity issues</a:t>
            </a:r>
          </a:p>
          <a:p>
            <a:r>
              <a:rPr lang="en-US" sz="2000" dirty="0"/>
              <a:t>Resistance to change</a:t>
            </a:r>
          </a:p>
          <a:p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C2B0B841-2EBF-61D2-898C-EE93E8141D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860993"/>
            <a:ext cx="6032954" cy="4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</a:t>
            </a:r>
          </a:p>
          <a:p>
            <a:r>
              <a:rPr lang="en-US" sz="2000" dirty="0"/>
              <a:t>Adoption of agile suddenly</a:t>
            </a:r>
          </a:p>
          <a:p>
            <a:r>
              <a:rPr lang="en-US" sz="2000" dirty="0"/>
              <a:t>Training and Expertise</a:t>
            </a:r>
          </a:p>
          <a:p>
            <a:r>
              <a:rPr lang="en-US" sz="2000" dirty="0"/>
              <a:t>Integration with my existing knowledge</a:t>
            </a:r>
          </a:p>
          <a:p>
            <a:r>
              <a:rPr lang="en-US" sz="2000" dirty="0"/>
              <a:t>Continuous adaption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49732DF6-9349-B9B3-F50E-B4830C62EF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860993"/>
            <a:ext cx="6032954" cy="4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82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5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</a:t>
            </a:r>
          </a:p>
          <a:p>
            <a:r>
              <a:rPr lang="en-US" sz="2000" dirty="0"/>
              <a:t>Consistency in story pointing </a:t>
            </a:r>
          </a:p>
          <a:p>
            <a:r>
              <a:rPr lang="en-US" sz="2000" dirty="0"/>
              <a:t>Implementation Delays</a:t>
            </a:r>
          </a:p>
          <a:p>
            <a:r>
              <a:rPr lang="en-US" sz="2000" dirty="0"/>
              <a:t>Maintaining discipline</a:t>
            </a:r>
          </a:p>
          <a:p>
            <a:r>
              <a:rPr lang="en-US" sz="2000" dirty="0"/>
              <a:t>Excessive training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49732DF6-9349-B9B3-F50E-B4830C62EF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860993"/>
            <a:ext cx="6032954" cy="4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418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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ning more about Azure Dev-ops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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tting up PostgreSQL as a DBMS service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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e GTKY’s from the product owners under my line managers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 sessions were highly interactive, and activity based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 activities included </a:t>
            </a:r>
          </a:p>
          <a:p>
            <a:r>
              <a:rPr lang="en-US" sz="2000" dirty="0"/>
              <a:t>Roleplay</a:t>
            </a:r>
          </a:p>
          <a:p>
            <a:r>
              <a:rPr lang="en-US" sz="2000" dirty="0"/>
              <a:t>Chart making</a:t>
            </a:r>
          </a:p>
          <a:p>
            <a:r>
              <a:rPr lang="en-US" sz="2000" dirty="0"/>
              <a:t>Public speaking</a:t>
            </a:r>
          </a:p>
          <a:p>
            <a:r>
              <a:rPr lang="en-US" sz="2000" dirty="0"/>
              <a:t>Presentation skills</a:t>
            </a:r>
          </a:p>
          <a:p>
            <a:r>
              <a:rPr lang="en-US" sz="2000" dirty="0"/>
              <a:t>Assessments</a:t>
            </a:r>
          </a:p>
        </p:txBody>
      </p:sp>
      <p:pic>
        <p:nvPicPr>
          <p:cNvPr id="6" name="Picture 5" descr="A group of people jumping in the air&#10;&#10;Description automatically generated">
            <a:extLst>
              <a:ext uri="{FF2B5EF4-FFF2-40B4-BE49-F238E27FC236}">
                <a16:creationId xmlns:a16="http://schemas.microsoft.com/office/drawing/2014/main" id="{E2B405C6-F684-7883-4F61-8CBCCAAFF9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989990" y="2528887"/>
            <a:ext cx="4286250" cy="240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/>
              <a:t>The entire first three days of the training focused on the soft skills required in a corporate environment including covering topics of how to interject, criticize(without offending) , how to ask politely to elaborate further on a topic .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echnical skills like Dev-ops on Microsoft Azure , Creating epics, tasks ,feature ,user story in Microsoft Azure cloud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Topics of the current week will help us better communicate our understanding with the felicitator to gain a much clearer and broader understanding on the subject being taught.  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Who is a professional?</a:t>
            </a:r>
          </a:p>
          <a:p>
            <a:r>
              <a:rPr lang="en-US" sz="2000" dirty="0"/>
              <a:t>An individual who is skilled and knowledgeable in their field, adhering to the standards and ethics of their profession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How Does Professional Behave?</a:t>
            </a:r>
          </a:p>
          <a:p>
            <a:r>
              <a:rPr lang="en-US" sz="2000" dirty="0"/>
              <a:t>Accountability</a:t>
            </a:r>
          </a:p>
          <a:p>
            <a:r>
              <a:rPr lang="en-US" sz="2000" dirty="0"/>
              <a:t>Reliability</a:t>
            </a:r>
          </a:p>
          <a:p>
            <a:r>
              <a:rPr lang="en-US" sz="2000" dirty="0"/>
              <a:t>Integrity</a:t>
            </a:r>
          </a:p>
          <a:p>
            <a:r>
              <a:rPr lang="en-US" sz="2000" dirty="0"/>
              <a:t>Respectfulness</a:t>
            </a:r>
          </a:p>
          <a:p>
            <a:r>
              <a:rPr lang="en-US" sz="2000" dirty="0"/>
              <a:t>Adaptabilit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close-up of words&#10;&#10;Description automatically generated">
            <a:extLst>
              <a:ext uri="{FF2B5EF4-FFF2-40B4-BE49-F238E27FC236}">
                <a16:creationId xmlns:a16="http://schemas.microsoft.com/office/drawing/2014/main" id="{5109F427-D094-3C82-B726-FB2BD25D61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11290" y="2240393"/>
            <a:ext cx="5125935" cy="3178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463041"/>
            <a:ext cx="5653806" cy="47744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Professional Qualities and Attributes?</a:t>
            </a:r>
          </a:p>
          <a:p>
            <a:r>
              <a:rPr lang="en-US" sz="2000" dirty="0"/>
              <a:t>Expertise</a:t>
            </a:r>
          </a:p>
          <a:p>
            <a:r>
              <a:rPr lang="en-US" sz="2000" dirty="0"/>
              <a:t>Punctuality</a:t>
            </a:r>
          </a:p>
          <a:p>
            <a:r>
              <a:rPr lang="en-US" sz="2000" dirty="0"/>
              <a:t>Appearance</a:t>
            </a:r>
          </a:p>
          <a:p>
            <a:r>
              <a:rPr lang="en-US" sz="2000" dirty="0"/>
              <a:t>Self-Disciplin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Telephone Etiquette</a:t>
            </a:r>
          </a:p>
          <a:p>
            <a:r>
              <a:rPr lang="en-US" sz="2000" dirty="0"/>
              <a:t>Answering: Answer with greeting</a:t>
            </a:r>
          </a:p>
          <a:p>
            <a:r>
              <a:rPr lang="en-US" sz="2000" dirty="0"/>
              <a:t>Tone: Tone must be polite</a:t>
            </a:r>
          </a:p>
          <a:p>
            <a:r>
              <a:rPr lang="en-US" sz="2000" dirty="0"/>
              <a:t>Hold: Don’t hold for long and don’t move away</a:t>
            </a:r>
          </a:p>
          <a:p>
            <a:r>
              <a:rPr lang="en-US" sz="2000" dirty="0"/>
              <a:t>Ending: End with goodbye</a:t>
            </a:r>
          </a:p>
        </p:txBody>
      </p:sp>
      <p:pic>
        <p:nvPicPr>
          <p:cNvPr id="5" name="Picture 4" descr="A cartoon character standing on a telephone&#10;&#10;Description automatically generated">
            <a:extLst>
              <a:ext uri="{FF2B5EF4-FFF2-40B4-BE49-F238E27FC236}">
                <a16:creationId xmlns:a16="http://schemas.microsoft.com/office/drawing/2014/main" id="{1AFA159D-F3D2-CB37-47D1-932157B479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83827" y="1300986"/>
            <a:ext cx="4626429" cy="462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6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463041"/>
            <a:ext cx="5653806" cy="47744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Email Etiquette:</a:t>
            </a:r>
          </a:p>
          <a:p>
            <a:r>
              <a:rPr lang="en-US" sz="2000" dirty="0"/>
              <a:t>Subject: Don’t use block letters</a:t>
            </a:r>
          </a:p>
          <a:p>
            <a:r>
              <a:rPr lang="en-US" sz="2000" dirty="0"/>
              <a:t>One email one message</a:t>
            </a:r>
          </a:p>
          <a:p>
            <a:r>
              <a:rPr lang="en-US" sz="2000" dirty="0"/>
              <a:t>One paragraph(15-20 words) – one idea</a:t>
            </a:r>
          </a:p>
          <a:p>
            <a:r>
              <a:rPr lang="en-US" sz="2000" dirty="0"/>
              <a:t>Respond within 24 hours</a:t>
            </a:r>
          </a:p>
          <a:p>
            <a:r>
              <a:rPr lang="en-US" sz="2000" dirty="0"/>
              <a:t>Write designation in signatur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Meeting Etiquette</a:t>
            </a:r>
          </a:p>
          <a:p>
            <a:r>
              <a:rPr lang="en-US" sz="2000" dirty="0"/>
              <a:t>Be Prepared and on time</a:t>
            </a:r>
          </a:p>
          <a:p>
            <a:r>
              <a:rPr lang="en-US" sz="2000" dirty="0"/>
              <a:t>Put your phone on silent</a:t>
            </a:r>
          </a:p>
          <a:p>
            <a:r>
              <a:rPr lang="en-US" sz="2000" dirty="0"/>
              <a:t>Follow-up</a:t>
            </a:r>
          </a:p>
        </p:txBody>
      </p:sp>
      <p:pic>
        <p:nvPicPr>
          <p:cNvPr id="5" name="Picture 4" descr="A close-up of a person shaking hands&#10;&#10;Description automatically generated">
            <a:extLst>
              <a:ext uri="{FF2B5EF4-FFF2-40B4-BE49-F238E27FC236}">
                <a16:creationId xmlns:a16="http://schemas.microsoft.com/office/drawing/2014/main" id="{BF183D4A-CAAE-9DB2-8891-EE22F28E2D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324679" y="1941742"/>
            <a:ext cx="5534277" cy="369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717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463041"/>
            <a:ext cx="5653806" cy="47744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Video Conferencing Etiquette:</a:t>
            </a:r>
          </a:p>
          <a:p>
            <a:r>
              <a:rPr lang="en-US" sz="2000" dirty="0"/>
              <a:t>Minimal background distraction</a:t>
            </a:r>
          </a:p>
          <a:p>
            <a:r>
              <a:rPr lang="en-US" sz="2000" dirty="0"/>
              <a:t>Dress as you’re attending in person</a:t>
            </a:r>
          </a:p>
          <a:p>
            <a:r>
              <a:rPr lang="en-US" sz="2000" dirty="0"/>
              <a:t>Be on mute if not required</a:t>
            </a:r>
          </a:p>
          <a:p>
            <a:r>
              <a:rPr lang="en-US" sz="2000" dirty="0"/>
              <a:t>Pay attention and ask question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How do I personally see this concept implemented in the Energy sector : </a:t>
            </a:r>
            <a:r>
              <a:rPr lang="en-US" sz="2000" dirty="0"/>
              <a:t>In the Energy sector, Professionalism involves adhering to safety regulations, maintaining technical expertise and ensuring ethical and regulatory compliance. </a:t>
            </a:r>
          </a:p>
        </p:txBody>
      </p:sp>
      <p:pic>
        <p:nvPicPr>
          <p:cNvPr id="5" name="Picture 4" descr="A group of people in a meeting&#10;&#10;Description automatically generated">
            <a:extLst>
              <a:ext uri="{FF2B5EF4-FFF2-40B4-BE49-F238E27FC236}">
                <a16:creationId xmlns:a16="http://schemas.microsoft.com/office/drawing/2014/main" id="{D64A594D-DC89-FEE5-1803-28FCD96A60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286500" y="1748143"/>
            <a:ext cx="590550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304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463041"/>
            <a:ext cx="5534063" cy="49162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Stakeholder Analysis</a:t>
            </a:r>
          </a:p>
          <a:p>
            <a:r>
              <a:rPr lang="en-US" sz="2000" dirty="0"/>
              <a:t>Identify the Stakeholder </a:t>
            </a:r>
          </a:p>
          <a:p>
            <a:r>
              <a:rPr lang="en-US" sz="2000" dirty="0"/>
              <a:t>Understand Stakeholder</a:t>
            </a:r>
          </a:p>
          <a:p>
            <a:r>
              <a:rPr lang="en-US" sz="2000" dirty="0"/>
              <a:t>Prioritize stakeholder</a:t>
            </a:r>
          </a:p>
          <a:p>
            <a:r>
              <a:rPr lang="en-US" sz="2000" dirty="0"/>
              <a:t>Develop a communication plan</a:t>
            </a:r>
          </a:p>
          <a:p>
            <a:r>
              <a:rPr lang="en-US" sz="2000" dirty="0"/>
              <a:t>Manage and monitor stakeholder expectation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takeholder expectation</a:t>
            </a:r>
          </a:p>
          <a:p>
            <a:r>
              <a:rPr lang="en-US" sz="2000" dirty="0"/>
              <a:t>Transparency</a:t>
            </a:r>
          </a:p>
          <a:p>
            <a:r>
              <a:rPr lang="en-US" sz="2000" dirty="0"/>
              <a:t>Giving everyone significant amount of say</a:t>
            </a:r>
          </a:p>
          <a:p>
            <a:r>
              <a:rPr lang="en-US" sz="2000" dirty="0"/>
              <a:t>Physical interaction is best but if it is not possible, you can have another mutually acceptable chann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3" name="Picture 12" descr="A hand holding a card&#10;&#10;Description automatically generated">
            <a:extLst>
              <a:ext uri="{FF2B5EF4-FFF2-40B4-BE49-F238E27FC236}">
                <a16:creationId xmlns:a16="http://schemas.microsoft.com/office/drawing/2014/main" id="{EF0A7EBA-78BB-3C17-4527-7A988FAB8CD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096000" y="1670620"/>
            <a:ext cx="6114363" cy="40762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2274D79-15FC-B070-7A8A-2F403E9203CE}"/>
              </a:ext>
            </a:extLst>
          </p:cNvPr>
          <p:cNvSpPr txBox="1"/>
          <p:nvPr/>
        </p:nvSpPr>
        <p:spPr>
          <a:xfrm>
            <a:off x="10844206" y="5840492"/>
            <a:ext cx="13661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thebluediamondgallery.com/hand-held-card/s/stakeholders.html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Shell Trust Model</a:t>
            </a:r>
          </a:p>
          <a:p>
            <a:r>
              <a:rPr lang="en-US" sz="2000" dirty="0"/>
              <a:t>Credibility</a:t>
            </a:r>
          </a:p>
          <a:p>
            <a:r>
              <a:rPr lang="en-US" sz="2000" dirty="0"/>
              <a:t>Reliability</a:t>
            </a:r>
          </a:p>
          <a:p>
            <a:r>
              <a:rPr lang="en-US" sz="2000" dirty="0"/>
              <a:t>Intimacy</a:t>
            </a:r>
          </a:p>
          <a:p>
            <a:r>
              <a:rPr lang="en-US" sz="2000" dirty="0"/>
              <a:t>Self-Orientation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Trust Enhancing Techniques</a:t>
            </a:r>
          </a:p>
          <a:p>
            <a:pPr marL="0" indent="0">
              <a:buNone/>
            </a:pPr>
            <a:r>
              <a:rPr lang="en-US" sz="2000" b="1" dirty="0"/>
              <a:t>Johari Window</a:t>
            </a:r>
          </a:p>
          <a:p>
            <a:r>
              <a:rPr lang="en-US" sz="2000" dirty="0"/>
              <a:t>4 Quadrants (1- Blind Self, 2- Open Self, 3- Hidden Self and 4- Unknown Self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blue squares with white text&#10;&#10;Description automatically generated">
            <a:extLst>
              <a:ext uri="{FF2B5EF4-FFF2-40B4-BE49-F238E27FC236}">
                <a16:creationId xmlns:a16="http://schemas.microsoft.com/office/drawing/2014/main" id="{EFEC26BE-D0E9-0C51-5309-3173283820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354" y="1970061"/>
            <a:ext cx="4465144" cy="404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45</TotalTime>
  <Words>1402</Words>
  <Application>Microsoft Office PowerPoint</Application>
  <PresentationFormat>Widescreen</PresentationFormat>
  <Paragraphs>246</Paragraphs>
  <Slides>3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1 | My takeaways</vt:lpstr>
      <vt:lpstr>Learning 1 | My takeaways</vt:lpstr>
      <vt:lpstr>Learning 1 | My takeaways</vt:lpstr>
      <vt:lpstr>Learning 2 | My takeaways</vt:lpstr>
      <vt:lpstr>Learning 2 | My takeaways</vt:lpstr>
      <vt:lpstr>Learning 3 | My takeaways</vt:lpstr>
      <vt:lpstr>Learning 3 | My takeaways</vt:lpstr>
      <vt:lpstr>Learning 4 | My takeaways</vt:lpstr>
      <vt:lpstr>Learning 4 | My takeaways</vt:lpstr>
      <vt:lpstr>Learning 5 | My takeaways</vt:lpstr>
      <vt:lpstr>Learning 5 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 | Relevance for Shell</vt:lpstr>
      <vt:lpstr>Learning 5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Challenge faced while implementing Learning 5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Jain, Atishay D SBOBNG-PTIV/ZSO</cp:lastModifiedBy>
  <cp:revision>503</cp:revision>
  <dcterms:created xsi:type="dcterms:W3CDTF">2022-01-18T12:35:56Z</dcterms:created>
  <dcterms:modified xsi:type="dcterms:W3CDTF">2024-08-31T04:1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